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7.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27" autoAdjust="0"/>
    <p:restoredTop sz="87209" autoAdjust="0"/>
  </p:normalViewPr>
  <p:slideViewPr>
    <p:cSldViewPr snapToGrid="0" showGuides="1">
      <p:cViewPr>
        <p:scale>
          <a:sx n="50" d="100"/>
          <a:sy n="50" d="100"/>
        </p:scale>
        <p:origin x="-76" y="-92"/>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587048" y="1894439"/>
          <a:ext cx="2114504" cy="161204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24146" y="1931537"/>
        <a:ext cx="2040308" cy="1192408"/>
      </dsp:txXfrm>
    </dsp:sp>
    <dsp:sp modelId="{F827665D-69F4-4582-BEB2-A5794CA30A06}">
      <dsp:nvSpPr>
        <dsp:cNvPr id="0" name=""/>
        <dsp:cNvSpPr/>
      </dsp:nvSpPr>
      <dsp:spPr>
        <a:xfrm>
          <a:off x="1744448" y="1731804"/>
          <a:ext cx="2555461" cy="2555461"/>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9227" y="3148984"/>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970488" y="3170245"/>
        <a:ext cx="1782913" cy="683393"/>
      </dsp:txXfrm>
    </dsp:sp>
    <dsp:sp modelId="{86DDBEE2-8B91-44ED-B629-4631F9E18A12}">
      <dsp:nvSpPr>
        <dsp:cNvPr id="0" name=""/>
        <dsp:cNvSpPr/>
      </dsp:nvSpPr>
      <dsp:spPr>
        <a:xfrm>
          <a:off x="2784139"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23118" y="2296887"/>
        <a:ext cx="3194456" cy="1252886"/>
      </dsp:txXfrm>
    </dsp:sp>
    <dsp:sp modelId="{CDCAD455-EB6B-402B-B181-8BA63311810D}">
      <dsp:nvSpPr>
        <dsp:cNvPr id="0" name=""/>
        <dsp:cNvSpPr/>
      </dsp:nvSpPr>
      <dsp:spPr>
        <a:xfrm>
          <a:off x="4677085" y="1153930"/>
          <a:ext cx="2597273" cy="2597273"/>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40401"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8722" y="1439794"/>
        <a:ext cx="1944162" cy="910313"/>
      </dsp:txXfrm>
    </dsp:sp>
    <dsp:sp modelId="{F32D151A-7816-4D8F-AF44-C36440897AD6}">
      <dsp:nvSpPr>
        <dsp:cNvPr id="0" name=""/>
        <dsp:cNvSpPr/>
      </dsp:nvSpPr>
      <dsp:spPr>
        <a:xfrm>
          <a:off x="6359081" y="1910166"/>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98060" y="1949145"/>
        <a:ext cx="1812866" cy="1252886"/>
      </dsp:txXfrm>
    </dsp:sp>
    <dsp:sp modelId="{92BF8A00-5694-4464-90D9-1154141BC261}">
      <dsp:nvSpPr>
        <dsp:cNvPr id="0" name=""/>
        <dsp:cNvSpPr/>
      </dsp:nvSpPr>
      <dsp:spPr>
        <a:xfrm>
          <a:off x="6574721"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6595982" y="3388412"/>
        <a:ext cx="1782913" cy="68339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11/16/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11/16/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1.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7.jp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image" Target="../media/image19.png"/><Relationship Id="rId7"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gif"/><Relationship Id="rId4" Type="http://schemas.openxmlformats.org/officeDocument/2006/relationships/image" Target="../media/image20.png"/><Relationship Id="rId9" Type="http://schemas.openxmlformats.org/officeDocument/2006/relationships/image" Target="../media/image24.png"/></Relationships>
</file>

<file path=ppt/slides/_rels/slide3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a:t>
            </a:r>
            <a:r>
              <a:rPr lang="ru-RU" dirty="0" smtClean="0"/>
              <a:t>финансирования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076093" cy="6360160"/>
            <a:chOff x="323751" y="2021245"/>
            <a:chExt cx="12076093"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5009356"/>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a:t>
              </a:r>
              <a:r>
                <a:rPr lang="ru-RU" sz="1200" dirty="0" smtClean="0"/>
                <a:t>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53519"/>
              <a:ext cx="4874409"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5115414"/>
              <a:ext cx="2148368"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67191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8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smtClean="0"/>
              <a:t>3</a:t>
            </a:r>
            <a:r>
              <a:rPr lang="ru-RU" sz="1400" dirty="0" smtClean="0"/>
              <a:t>. </a:t>
            </a:r>
            <a:r>
              <a:rPr lang="ru-RU" dirty="0" smtClean="0">
                <a:effectLst/>
              </a:rPr>
              <a:t>Совместная программа субсидирования Минэкономразвития </a:t>
            </a:r>
            <a:r>
              <a:rPr lang="ru-RU" dirty="0">
                <a:effectLst/>
              </a:rPr>
              <a:t>России </a:t>
            </a:r>
            <a:r>
              <a:rPr lang="ru-RU" dirty="0" smtClean="0">
                <a:effectLst/>
              </a:rPr>
              <a:t>и Корпорации МСП в </a:t>
            </a:r>
            <a:r>
              <a:rPr lang="ru-RU" dirty="0">
                <a:effectLst/>
              </a:rPr>
              <a:t>соответствии с постановлением Правительства РФ от 30.12.2017 </a:t>
            </a:r>
            <a:r>
              <a:rPr lang="ru-RU" dirty="0" smtClean="0">
                <a:effectLst/>
              </a:rPr>
              <a:t>№ 1706</a:t>
            </a:r>
            <a:endParaRPr lang="ru-RU" dirty="0">
              <a:effectLst/>
            </a:endParaRPr>
          </a:p>
        </p:txBody>
      </p:sp>
    </p:spTree>
    <p:extLst>
      <p:ext uri="{BB962C8B-B14F-4D97-AF65-F5344CB8AC3E}">
        <p14:creationId xmlns:p14="http://schemas.microsoft.com/office/powerpoint/2010/main" val="476120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br>
              <a:rPr lang="ru-RU" dirty="0" smtClean="0"/>
            </a:br>
            <a:r>
              <a:rPr lang="ru-RU" dirty="0" smtClean="0"/>
              <a:t>и уполномоченные банки</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a16="http://schemas.microsoft.com/office/drawing/2014/main" xmlns="" val="20000"/>
                    </a:ext>
                  </a:extLst>
                </a:gridCol>
                <a:gridCol w="3069765">
                  <a:extLst>
                    <a:ext uri="{9D8B030D-6E8A-4147-A177-3AD203B41FA5}">
                      <a16:colId xmlns:a16="http://schemas.microsoft.com/office/drawing/2014/main" xmlns="" val="20001"/>
                    </a:ext>
                  </a:extLst>
                </a:gridCol>
                <a:gridCol w="3069765">
                  <a:extLst>
                    <a:ext uri="{9D8B030D-6E8A-4147-A177-3AD203B41FA5}">
                      <a16:colId xmlns:a16="http://schemas.microsoft.com/office/drawing/2014/main" xmlns="" val="978325374"/>
                    </a:ext>
                  </a:extLst>
                </a:gridCol>
              </a:tblGrid>
              <a:tr h="373267">
                <a:tc>
                  <a:txBody>
                    <a:bodyPr/>
                    <a:lstStyle/>
                    <a:p>
                      <a:pPr algn="ctr"/>
                      <a:r>
                        <a:rPr lang="ru-RU" sz="1800" dirty="0" smtClean="0"/>
                        <a:t>Системно значимые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smtClean="0"/>
                        <a:t>Региональные</a:t>
                      </a:r>
                      <a:r>
                        <a:rPr lang="ru-RU" sz="1800" baseline="0" dirty="0" smtClean="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a16="http://schemas.microsoft.com/office/drawing/2014/main" xmlns=""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a:t>
                      </a:r>
                      <a:r>
                        <a:rPr lang="ru-RU" sz="1400" dirty="0" err="1" smtClean="0"/>
                        <a:t>Россельхоз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КБ "</a:t>
                      </a:r>
                      <a:r>
                        <a:rPr lang="ru-RU" sz="1400" dirty="0" err="1" smtClean="0"/>
                        <a:t>РосЕвроБанк</a:t>
                      </a:r>
                      <a:r>
                        <a:rPr lang="ru-RU" sz="1400" dirty="0" smtClean="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a:t>
                      </a:r>
                      <a:r>
                        <a:rPr lang="ru-RU" sz="1400" dirty="0" err="1" smtClean="0"/>
                        <a:t>Интеза</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КБ Приморья «</a:t>
                      </a:r>
                      <a:r>
                        <a:rPr lang="ru-RU" sz="1400" dirty="0" err="1" smtClean="0"/>
                        <a:t>Примсоц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smtClean="0">
                <a:solidFill>
                  <a:srgbClr val="1F4E79"/>
                </a:solidFill>
              </a:rPr>
              <a:t>Субсидии на </a:t>
            </a:r>
            <a:r>
              <a:rPr lang="ru-RU" sz="1800" b="1" dirty="0">
                <a:solidFill>
                  <a:srgbClr val="1F4E79"/>
                </a:solidFill>
              </a:rPr>
              <a:t>возмещение недополученных </a:t>
            </a:r>
            <a:r>
              <a:rPr lang="ru-RU" sz="1800" b="1" dirty="0" smtClean="0">
                <a:solidFill>
                  <a:srgbClr val="1F4E79"/>
                </a:solidFill>
              </a:rPr>
              <a:t>доходов </a:t>
            </a:r>
            <a:r>
              <a:rPr lang="ru-RU" sz="1800" b="1" dirty="0">
                <a:solidFill>
                  <a:srgbClr val="1F4E79"/>
                </a:solidFill>
              </a:rPr>
              <a:t>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a:t>
            </a:r>
            <a:r>
              <a:rPr lang="ru-RU" sz="1800" b="1" dirty="0" smtClean="0"/>
              <a:t>6,5 % </a:t>
            </a:r>
            <a:r>
              <a:rPr lang="ru-RU" sz="1800" b="1" dirty="0"/>
              <a:t>годовых.</a:t>
            </a:r>
          </a:p>
          <a:p>
            <a:pPr algn="just"/>
            <a:r>
              <a:rPr lang="ru-RU" sz="1800" dirty="0"/>
              <a:t> </a:t>
            </a:r>
          </a:p>
          <a:p>
            <a:pPr algn="just"/>
            <a:r>
              <a:rPr lang="ru-RU" sz="1800" dirty="0" smtClean="0"/>
              <a:t>В </a:t>
            </a:r>
            <a:r>
              <a:rPr lang="ru-RU" sz="1800" dirty="0"/>
              <a:t>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smtClean="0"/>
              <a:t>инвестиционный </a:t>
            </a:r>
            <a:r>
              <a:rPr lang="ru-RU" sz="1800" dirty="0"/>
              <a:t>кредит на реализацию проекта в приоритетных отраслях в размере от </a:t>
            </a:r>
            <a:br>
              <a:rPr lang="ru-RU" sz="1800" dirty="0"/>
            </a:br>
            <a:r>
              <a:rPr lang="ru-RU" sz="1800" b="1" dirty="0" smtClean="0">
                <a:solidFill>
                  <a:srgbClr val="1F4E79"/>
                </a:solidFill>
              </a:rPr>
              <a:t>3 млн </a:t>
            </a:r>
            <a:r>
              <a:rPr lang="ru-RU" sz="1800" b="1" dirty="0">
                <a:solidFill>
                  <a:srgbClr val="1F4E79"/>
                </a:solidFill>
              </a:rPr>
              <a:t>рублей до 1 </a:t>
            </a:r>
            <a:r>
              <a:rPr lang="ru-RU" sz="1800" b="1" dirty="0" smtClean="0">
                <a:solidFill>
                  <a:srgbClr val="1F4E79"/>
                </a:solidFill>
              </a:rPr>
              <a:t>млрд </a:t>
            </a:r>
            <a:r>
              <a:rPr lang="ru-RU" sz="1800" b="1" dirty="0">
                <a:solidFill>
                  <a:srgbClr val="1F4E79"/>
                </a:solidFill>
              </a:rPr>
              <a:t>рублей </a:t>
            </a:r>
            <a:r>
              <a:rPr lang="ru-RU" sz="1800" dirty="0"/>
              <a:t>на срок до </a:t>
            </a:r>
            <a:r>
              <a:rPr lang="ru-RU" sz="1800" b="1" dirty="0">
                <a:solidFill>
                  <a:srgbClr val="1F4E79"/>
                </a:solidFill>
              </a:rPr>
              <a:t>10 </a:t>
            </a:r>
            <a:r>
              <a:rPr lang="ru-RU" sz="1800" b="1" dirty="0" smtClean="0">
                <a:solidFill>
                  <a:srgbClr val="1F4E79"/>
                </a:solidFill>
              </a:rPr>
              <a:t>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smtClean="0"/>
              <a:t>кредит </a:t>
            </a:r>
            <a:r>
              <a:rPr lang="ru-RU" sz="1800" dirty="0"/>
              <a:t>на пополнение оборотных средств на реализацию проекта в приоритетных отраслях в размере </a:t>
            </a:r>
            <a:r>
              <a:rPr lang="ru-RU" sz="1800" b="1" dirty="0" smtClean="0">
                <a:solidFill>
                  <a:srgbClr val="1F4E79"/>
                </a:solidFill>
              </a:rPr>
              <a:t>от </a:t>
            </a:r>
            <a:r>
              <a:rPr lang="ru-RU" sz="1800" b="1" dirty="0">
                <a:solidFill>
                  <a:srgbClr val="1F4E79"/>
                </a:solidFill>
              </a:rPr>
              <a:t>3 </a:t>
            </a:r>
            <a:r>
              <a:rPr lang="ru-RU" sz="1800" b="1" dirty="0" smtClean="0">
                <a:solidFill>
                  <a:srgbClr val="1F4E79"/>
                </a:solidFill>
              </a:rPr>
              <a:t>млн </a:t>
            </a:r>
            <a:r>
              <a:rPr lang="ru-RU" sz="1800" b="1" dirty="0">
                <a:solidFill>
                  <a:srgbClr val="1F4E79"/>
                </a:solidFill>
              </a:rPr>
              <a:t>рублей до 100 </a:t>
            </a:r>
            <a:r>
              <a:rPr lang="ru-RU" sz="1800" b="1" dirty="0" smtClean="0">
                <a:solidFill>
                  <a:srgbClr val="1F4E79"/>
                </a:solidFill>
              </a:rPr>
              <a:t>млн </a:t>
            </a:r>
            <a:r>
              <a:rPr lang="ru-RU" sz="1800" b="1" dirty="0">
                <a:solidFill>
                  <a:srgbClr val="1F4E79"/>
                </a:solidFill>
              </a:rPr>
              <a:t>рублей</a:t>
            </a:r>
            <a:r>
              <a:rPr lang="ru-RU" sz="1800" dirty="0">
                <a:solidFill>
                  <a:srgbClr val="1F4E79"/>
                </a:solidFill>
              </a:rPr>
              <a:t> </a:t>
            </a:r>
            <a:r>
              <a:rPr lang="ru-RU" sz="1800" dirty="0"/>
              <a:t>на срок до </a:t>
            </a:r>
            <a:r>
              <a:rPr lang="ru-RU" sz="1800" b="1" dirty="0">
                <a:solidFill>
                  <a:srgbClr val="1F4E79"/>
                </a:solidFill>
              </a:rPr>
              <a:t>3 </a:t>
            </a:r>
            <a:r>
              <a:rPr lang="ru-RU" sz="1800" b="1" dirty="0" smtClean="0">
                <a:solidFill>
                  <a:srgbClr val="1F4E79"/>
                </a:solidFill>
              </a:rPr>
              <a:t>лет</a:t>
            </a:r>
          </a:p>
          <a:p>
            <a:pPr algn="just"/>
            <a:endParaRPr lang="ru-RU" sz="1100" b="1" dirty="0" smtClean="0"/>
          </a:p>
          <a:p>
            <a:pPr algn="just"/>
            <a:endParaRPr lang="ru-RU" sz="1100" b="1" dirty="0"/>
          </a:p>
          <a:p>
            <a:pPr algn="just"/>
            <a:r>
              <a:rPr lang="ru-RU" sz="1800" dirty="0" smtClean="0"/>
              <a:t>Для </a:t>
            </a:r>
            <a:r>
              <a:rPr lang="ru-RU" sz="1800" dirty="0"/>
              <a:t>участия в Программе субсидирования </a:t>
            </a:r>
            <a:r>
              <a:rPr lang="ru-RU" sz="1800" dirty="0" smtClean="0"/>
              <a:t>отобрано </a:t>
            </a:r>
            <a:r>
              <a:rPr lang="ru-RU" sz="1800" b="1" dirty="0">
                <a:solidFill>
                  <a:srgbClr val="1F4E79"/>
                </a:solidFill>
              </a:rPr>
              <a:t>15 уполномоченных банков</a:t>
            </a:r>
            <a:r>
              <a:rPr lang="ru-RU" sz="1800" dirty="0"/>
              <a:t>,  в </a:t>
            </a:r>
            <a:r>
              <a:rPr lang="ru-RU" sz="1800" dirty="0" smtClean="0"/>
              <a:t>том числе:</a:t>
            </a:r>
            <a:endParaRPr lang="ru-RU" sz="1800" dirty="0"/>
          </a:p>
          <a:p>
            <a:pPr algn="just"/>
            <a:endParaRPr lang="ru-RU" sz="1800" b="1" kern="0" dirty="0"/>
          </a:p>
          <a:p>
            <a:pPr algn="just"/>
            <a:r>
              <a:rPr lang="ru-RU" sz="1800" b="1" dirty="0" smtClean="0"/>
              <a:t> </a:t>
            </a:r>
            <a:endParaRPr lang="ru-RU" sz="1800" b="1" dirty="0"/>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95571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a:t>
            </a:r>
            <a:r>
              <a:rPr lang="ru-RU" dirty="0"/>
              <a:t>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smtClean="0">
                <a:solidFill>
                  <a:prstClr val="black"/>
                </a:solidFill>
                <a:latin typeface="+mj-lt"/>
                <a:cs typeface="+mn-cs"/>
              </a:rPr>
              <a:t>монопрофильного</a:t>
            </a:r>
            <a:r>
              <a:rPr lang="ru-RU" sz="1500" dirty="0" smtClean="0">
                <a:solidFill>
                  <a:prstClr val="black"/>
                </a:solidFill>
                <a:latin typeface="+mj-lt"/>
                <a:cs typeface="+mn-cs"/>
              </a:rPr>
              <a:t> муниципального образования, включенного в перечень </a:t>
            </a:r>
            <a:r>
              <a:rPr lang="ru-RU" sz="1500" dirty="0" err="1" smtClean="0">
                <a:solidFill>
                  <a:prstClr val="black"/>
                </a:solidFill>
                <a:latin typeface="+mj-lt"/>
                <a:cs typeface="+mn-cs"/>
              </a:rPr>
              <a:t>монопрофильных</a:t>
            </a:r>
            <a:r>
              <a:rPr lang="ru-RU" sz="1500" dirty="0" smtClean="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endParaRPr lang="ru-RU" sz="1500"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val="3638974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требования к заемщикам.</a:t>
            </a:r>
            <a:endParaRPr lang="ru-RU" dirty="0"/>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r>
              <a:rPr lang="ru-RU" sz="1800" b="1" dirty="0" smtClean="0"/>
              <a:t>:</a:t>
            </a:r>
          </a:p>
          <a:p>
            <a:endParaRPr lang="ru-RU" sz="1800" dirty="0"/>
          </a:p>
          <a:p>
            <a:pPr marL="342900" indent="-342900" algn="just">
              <a:lnSpc>
                <a:spcPct val="120000"/>
              </a:lnSpc>
              <a:buFont typeface="Arial" panose="020B0604020202020204" pitchFamily="34" charset="0"/>
              <a:buChar char="•"/>
            </a:pPr>
            <a:r>
              <a:rPr lang="ru-RU" sz="1800" dirty="0" smtClean="0"/>
              <a:t>являться </a:t>
            </a:r>
            <a:r>
              <a:rPr lang="ru-RU" sz="1800" dirty="0"/>
              <a:t>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smtClean="0"/>
              <a:t>осуществлять </a:t>
            </a:r>
            <a:r>
              <a:rPr lang="ru-RU" sz="1800" dirty="0"/>
              <a:t>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smtClean="0"/>
              <a:t>обладать </a:t>
            </a:r>
            <a:r>
              <a:rPr lang="ru-RU" sz="1800" dirty="0"/>
              <a:t>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smtClean="0"/>
              <a:t>в </a:t>
            </a:r>
            <a:r>
              <a:rPr lang="ru-RU" sz="1800" dirty="0"/>
              <a:t>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smtClean="0"/>
              <a:t>не </a:t>
            </a:r>
            <a:r>
              <a:rPr lang="ru-RU" sz="1800" dirty="0"/>
              <a:t>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smtClean="0"/>
              <a:t>не </a:t>
            </a:r>
            <a:r>
              <a:rPr lang="ru-RU" sz="1800" dirty="0"/>
              <a:t>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smtClean="0"/>
              <a:t>не </a:t>
            </a:r>
            <a:r>
              <a:rPr lang="ru-RU" sz="1800" dirty="0"/>
              <a:t>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spTree>
    <p:extLst>
      <p:ext uri="{BB962C8B-B14F-4D97-AF65-F5344CB8AC3E}">
        <p14:creationId xmlns:p14="http://schemas.microsoft.com/office/powerpoint/2010/main" val="1938372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a16="http://schemas.microsoft.com/office/drawing/2014/main" xmlns="" val="2985683231"/>
                    </a:ext>
                  </a:extLst>
                </a:gridCol>
                <a:gridCol w="4680507">
                  <a:extLst>
                    <a:ext uri="{9D8B030D-6E8A-4147-A177-3AD203B41FA5}">
                      <a16:colId xmlns:a16="http://schemas.microsoft.com/office/drawing/2014/main" xmlns=""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val="3722331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1.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7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2</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0</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a16="http://schemas.microsoft.com/office/drawing/2014/main" xmlns="" val="20000"/>
                    </a:ext>
                  </a:extLst>
                </a:gridCol>
                <a:gridCol w="3384015">
                  <a:extLst>
                    <a:ext uri="{9D8B030D-6E8A-4147-A177-3AD203B41FA5}">
                      <a16:colId xmlns:a16="http://schemas.microsoft.com/office/drawing/2014/main" xmlns="" val="20001"/>
                    </a:ext>
                  </a:extLst>
                </a:gridCol>
                <a:gridCol w="3384015">
                  <a:extLst>
                    <a:ext uri="{9D8B030D-6E8A-4147-A177-3AD203B41FA5}">
                      <a16:colId xmlns:a16="http://schemas.microsoft.com/office/drawing/2014/main" xmlns="" val="20002"/>
                    </a:ext>
                  </a:extLst>
                </a:gridCol>
                <a:gridCol w="3384015">
                  <a:extLst>
                    <a:ext uri="{9D8B030D-6E8A-4147-A177-3AD203B41FA5}">
                      <a16:colId xmlns:a16="http://schemas.microsoft.com/office/drawing/2014/main" xmlns=""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val="3764526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a16="http://schemas.microsoft.com/office/drawing/2014/main" xmlns="" val="2756428174"/>
                    </a:ext>
                  </a:extLst>
                </a:gridCol>
                <a:gridCol w="2362319">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val="40094058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xmlns="" val="20000"/>
                    </a:ext>
                  </a:extLst>
                </a:gridCol>
                <a:gridCol w="2177857">
                  <a:extLst>
                    <a:ext uri="{9D8B030D-6E8A-4147-A177-3AD203B41FA5}">
                      <a16:colId xmlns:a16="http://schemas.microsoft.com/office/drawing/2014/main" xmlns="" val="20001"/>
                    </a:ext>
                  </a:extLst>
                </a:gridCol>
                <a:gridCol w="1489306">
                  <a:extLst>
                    <a:ext uri="{9D8B030D-6E8A-4147-A177-3AD203B41FA5}">
                      <a16:colId xmlns:a16="http://schemas.microsoft.com/office/drawing/2014/main" xmlns="" val="20002"/>
                    </a:ext>
                  </a:extLst>
                </a:gridCol>
                <a:gridCol w="1588456">
                  <a:extLst>
                    <a:ext uri="{9D8B030D-6E8A-4147-A177-3AD203B41FA5}">
                      <a16:colId xmlns:a16="http://schemas.microsoft.com/office/drawing/2014/main" xmlns="" val="20003"/>
                    </a:ext>
                  </a:extLst>
                </a:gridCol>
                <a:gridCol w="1797459">
                  <a:extLst>
                    <a:ext uri="{9D8B030D-6E8A-4147-A177-3AD203B41FA5}">
                      <a16:colId xmlns:a16="http://schemas.microsoft.com/office/drawing/2014/main" xmlns="" val="3653545549"/>
                    </a:ext>
                  </a:extLst>
                </a:gridCol>
                <a:gridCol w="303315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561375"/>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72179"/>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236419"/>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13868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913</TotalTime>
  <Words>6273</Words>
  <Application>Microsoft Office PowerPoint</Application>
  <PresentationFormat>Произвольный</PresentationFormat>
  <Paragraphs>798</Paragraphs>
  <Slides>33</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33</vt:i4>
      </vt:variant>
    </vt:vector>
  </HeadingPairs>
  <TitlesOfParts>
    <vt:vector size="34" baseType="lpstr">
      <vt:lpstr>Title</vt:lpstr>
      <vt:lpstr>Финансовая поддержка субъектов МСП</vt:lpstr>
      <vt:lpstr>О Корпорации</vt:lpstr>
      <vt:lpstr>Корпорация в цифрах гарантийной поддержки (на 31.01.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Целевое использование финансирования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Презентация PowerPoint</vt:lpstr>
      <vt:lpstr>Презентация PowerPoint</vt:lpstr>
    </vt:vector>
  </TitlesOfParts>
  <Company>Deloitte &amp; Touch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User</cp:lastModifiedBy>
  <cp:revision>4543</cp:revision>
  <cp:lastPrinted>2018-03-28T16:34:44Z</cp:lastPrinted>
  <dcterms:created xsi:type="dcterms:W3CDTF">2010-08-23T12:41:44Z</dcterms:created>
  <dcterms:modified xsi:type="dcterms:W3CDTF">2018-11-16T08:44:22Z</dcterms:modified>
</cp:coreProperties>
</file>